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9144000" cy="6858000" type="screen4x3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3"/>
  </p:normalViewPr>
  <p:slideViewPr>
    <p:cSldViewPr>
      <p:cViewPr varScale="1">
        <p:scale>
          <a:sx n="117" d="100"/>
          <a:sy n="117" d="100"/>
        </p:scale>
        <p:origin x="1480" y="1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3.877703206562267E-2"/>
          <c:w val="0.94537815126050417"/>
          <c:h val="0.922445935868754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</c:v>
                </c:pt>
                <c:pt idx="1">
                  <c:v>8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59-2149-91CE-2FFEA62286D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59-2149-91CE-2FFEA62286DF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759-2149-91CE-2FFEA62286D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759-2149-91CE-2FFEA62286DF}"/>
                </c:ext>
              </c:extLst>
            </c:dLbl>
            <c:dLbl>
              <c:idx val="2"/>
              <c:layout>
                <c:manualLayout>
                  <c:x val="-4.3592436974789914E-2"/>
                  <c:y val="-7.457121551081282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2</c:v>
                </c:pt>
                <c:pt idx="1">
                  <c:v>5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759-2149-91CE-2FFEA6228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815232"/>
        <c:axId val="1"/>
      </c:barChart>
      <c:catAx>
        <c:axId val="40815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815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53675382338433E-2"/>
          <c:y val="2.9782359679266898E-2"/>
          <c:w val="0.88801184015786883"/>
          <c:h val="0.94043528064146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1312284163788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DF-BB4A-9FA0-E06F06D6011F}"/>
                </c:ext>
              </c:extLst>
            </c:dLbl>
            <c:dLbl>
              <c:idx val="1"/>
              <c:layout>
                <c:manualLayout>
                  <c:x val="0.4879131721756290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DF-BB4A-9FA0-E06F06D6011F}"/>
                </c:ext>
              </c:extLst>
            </c:dLbl>
            <c:dLbl>
              <c:idx val="2"/>
              <c:layout>
                <c:manualLayout>
                  <c:x val="0.321164282190429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4</c:v>
                </c:pt>
                <c:pt idx="1">
                  <c:v>40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DF-BB4A-9FA0-E06F06D6011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DF-BB4A-9FA0-E06F06D6011F}"/>
                </c:ext>
              </c:extLst>
            </c:dLbl>
            <c:dLbl>
              <c:idx val="1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2DF-BB4A-9FA0-E06F06D6011F}"/>
                </c:ext>
              </c:extLst>
            </c:dLbl>
            <c:dLbl>
              <c:idx val="2"/>
              <c:layout>
                <c:manualLayout>
                  <c:x val="0.2767636901825357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2DF-BB4A-9FA0-E06F06D6011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9309324124321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2DF-BB4A-9FA0-E06F06D6011F}"/>
                </c:ext>
              </c:extLst>
            </c:dLbl>
            <c:dLbl>
              <c:idx val="1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2DF-BB4A-9FA0-E06F06D6011F}"/>
                </c:ext>
              </c:extLst>
            </c:dLbl>
            <c:dLbl>
              <c:idx val="2"/>
              <c:layout>
                <c:manualLayout>
                  <c:x val="7.400098667982239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4</c:v>
                </c:pt>
                <c:pt idx="1">
                  <c:v>20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2DF-BB4A-9FA0-E06F06D60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9280032"/>
        <c:axId val="1"/>
      </c:barChart>
      <c:catAx>
        <c:axId val="392800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280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04347826086957"/>
          <c:y val="3.8261691072272085E-2"/>
          <c:w val="0.78260869565217395"/>
          <c:h val="0.85025980160604631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45</c:v>
                </c:pt>
                <c:pt idx="1">
                  <c:v>24</c:v>
                </c:pt>
                <c:pt idx="2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37D-394B-B2DE-C4A815968DF7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xVal>
          <c:yVal>
            <c:numRef>
              <c:f>Sheet1!$A$3:$C$3</c:f>
              <c:numCache>
                <c:formatCode>General</c:formatCode>
                <c:ptCount val="3"/>
                <c:pt idx="0">
                  <c:v>10</c:v>
                </c:pt>
                <c:pt idx="1">
                  <c:v>14</c:v>
                </c:pt>
                <c:pt idx="2">
                  <c:v>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37D-394B-B2DE-C4A815968D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670352"/>
        <c:axId val="1"/>
      </c:scatterChart>
      <c:valAx>
        <c:axId val="41670352"/>
        <c:scaling>
          <c:orientation val="minMax"/>
          <c:max val="2019"/>
          <c:min val="201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1670352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EF740-C21C-4079-A32A-93C42BE6C7F6}" type="datetimeFigureOut">
              <a:rPr lang="de-DE" smtClean="0"/>
              <a:t>16.06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chart" Target="../charts/char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chart" Target="../charts/chart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oleObject" Target="../embeddings/oleObject1.bin"/><Relationship Id="rId8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3.xml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6062379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0" imgW="524" imgH="524" progId="TCLayout.ActiveDocument.1">
                  <p:embed/>
                </p:oleObj>
              </mc:Choice>
              <mc:Fallback>
                <p:oleObj name="think-cell Slide" r:id="rId30" imgW="524" imgH="524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cs typeface="+mj-cs"/>
              <a:sym typeface="+mn-lt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DEA0CAE-8A06-1846-B804-AE3B2F219C2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610590"/>
              </p:ext>
            </p:extLst>
          </p:nvPr>
        </p:nvGraphicFramePr>
        <p:xfrm>
          <a:off x="755650" y="2252663"/>
          <a:ext cx="3022600" cy="2128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F847AF9A-D68B-F149-A2E6-0C373B30273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31863" y="4116388"/>
            <a:ext cx="85725" cy="139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E12447F-9692-45B2-9151-901B836DECB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98563" y="209708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33459C49-702C-49C4-945A-B620F5652366}" type="datetime'2''''''''''''''''3'''''''''''''''''''''''">
              <a:rPr lang="en-US" altLang="en-US" sz="1400" smtClean="0"/>
              <a:pPr/>
              <a:t>23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DDAB3A6-DBC3-4329-86B2-F3706CFA4F9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8550" y="4421188"/>
            <a:ext cx="433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9FD366F-A43A-45F0-A7F2-AAE90D622056}" type="datetime'''''''''''''''''''''''A''p''''''''''''''''''''''''''''p''l''e'">
              <a:rPr lang="en-US" altLang="en-US" sz="1400" smtClean="0"/>
              <a:pPr/>
              <a:t>Apple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5096308-18F0-46CB-B30C-FD56CD67C4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63850" y="4421188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24DC82EE-6A71-403E-AE2B-3A93E7C77D90}" type="datetime'''''''''''M''''''''i''cr''o''s''o''''f''''''''''t'''">
              <a:rPr lang="en-US" altLang="en-US" sz="1400" smtClean="0"/>
              <a:pPr/>
              <a:t>Microsoft</a:t>
            </a:fld>
            <a:endParaRPr lang="en-US" sz="1400" dirty="0"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4FFD00EA-9F5A-604F-BD90-1BDF70D3727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017838" y="4149725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770EFC-BC0E-49F9-A893-572C91C0071C}" type="datetime'''''''''''''''''''''''''''''''''''''''1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400" dirty="0"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3FBB0019-7948-CB45-9045-289E3F1B1AD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82950" y="4106863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F30761-90CA-4919-8651-DBF42DBDA679}" type="datetime'''''''''''''''''''''''''''0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CFC8E580-8D97-6147-A254-AF226647346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97100" y="3509963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0A5774-7471-4DEF-AF26-20429B1A4B97}" type="datetime'''''''''''''0''''''''''''''''''''''''''''''''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CD27D2E-D014-4B17-A5BB-9D039173CD6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28613" y="3679825"/>
            <a:ext cx="577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80203F6B-0182-4319-910F-E3E8A37EF766}" type="datetime'Ip''''''h''''''''o''''''''n''''e''''s'''''''''''''">
              <a:rPr lang="en-US" altLang="en-US" sz="1400" smtClean="0"/>
              <a:pPr/>
              <a:t>Iphones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67DA5E4-4EB4-42E5-9781-8929DFCA126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03425" y="44211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1DC99B20-18A4-4184-8CA4-5759B2C0C0A3}" type="datetime'''''''''''''''Go''''''''''''og''''''''le'''''''">
              <a:rPr lang="en-US" altLang="en-US" sz="1400" smtClean="0"/>
              <a:pPr/>
              <a:t>Google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2E91309-9B67-42A3-A79B-A79E4EC8E9F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51063" y="2951163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57E8BAB6-8243-44BC-A081-1B0E90E18542}" type="datetime'''''''''''''''''''''''''''''1''''''''3'">
              <a:rPr lang="en-US" altLang="en-US" sz="1400" smtClean="0"/>
              <a:pPr/>
              <a:t>13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CFBAD8-CB52-461E-ADDA-6AF2C2C2B7C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44600" y="4149725"/>
            <a:ext cx="141288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49514F62-B776-47D7-AF14-F65B6F34CFB6}" type="datetime'''''''''''''''''''''''''''''''''''''''''''''1'''''''''">
              <a:rPr lang="en-US" altLang="en-US" sz="1400" smtClean="0"/>
              <a:pPr/>
              <a:t>1</a:t>
            </a:fld>
            <a:endParaRPr lang="en-US" sz="1400" dirty="0">
              <a:sym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4FCA51E-1218-7248-B908-7BC06D647A3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9763" y="4010025"/>
            <a:ext cx="266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A9B24B2-323D-4F00-83B3-71378BAD71FC}" type="datetime'''''''A''''''''''''''''''''''d''s'''''''''''''''''''''''''''''">
              <a:rPr lang="en-US" altLang="en-US" sz="1400" smtClean="0"/>
              <a:pPr/>
              <a:t>Ads</a:t>
            </a:fld>
            <a:endParaRPr lang="en-US" sz="1400" dirty="0"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D497223-89BE-45B8-9E5B-18C8ED32200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49600" y="3633788"/>
            <a:ext cx="141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0058AE7-36B1-4BC4-825C-8119A7378F18}" type="datetime'''''''''''''''''''''''''''''''''''''''''''5'''''''''''''''''">
              <a:rPr lang="en-US" altLang="en-US" sz="1400" smtClean="0"/>
              <a:pPr/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B4A0D35-75FE-4FA0-AC6D-2775052F076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84188" y="2741613"/>
            <a:ext cx="422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CE89AF0-C6F3-43F3-9E6D-87E668C65D74}" type="datetime'''''''''''''''''''''''O''th''''''e''r'''''''''''''''''''''''''">
              <a:rPr lang="en-US" altLang="en-US" sz="1400" smtClean="0"/>
              <a:pPr/>
              <a:t>Other</a:t>
            </a:fld>
            <a:endParaRPr lang="en-US" sz="1400" dirty="0">
              <a:sym typeface="+mn-lt"/>
            </a:endParaRP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7DC6252F-EBD8-914B-8368-B5B76634076F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75979011"/>
              </p:ext>
            </p:extLst>
          </p:nvPr>
        </p:nvGraphicFramePr>
        <p:xfrm>
          <a:off x="5197475" y="1616075"/>
          <a:ext cx="3217863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C23EE46-0C55-9645-91A2-D61FB230982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4621212" y="3763963"/>
            <a:ext cx="5413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59EB4B-217F-4088-8454-9FD94EE14AA6}" type="datetime'''''''A''''''''r''se''''''''na''''''''''''''''''l'''''''''''">
              <a:rPr lang="en-GB" altLang="en-US" sz="1400" smtClean="0"/>
              <a:pPr/>
              <a:t>Arsenal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792A95A-0489-6C42-AD6D-C081AFFA965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598988" y="2894013"/>
            <a:ext cx="563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E8DD26-D7B3-42FC-A2E4-41B18F274588}" type="datetime'C''''h''''''''''''''''''''''e''''''''ls''''e''''''''''''a'">
              <a:rPr lang="en-GB" altLang="en-US" sz="1400" smtClean="0"/>
              <a:pPr/>
              <a:t>Chelsea</a:t>
            </a:fld>
            <a:endParaRPr lang="en-GB" sz="1400" dirty="0"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6E9DBC0-A163-574C-B349-D984BEB4851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295775" y="2025650"/>
            <a:ext cx="866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88B8A4-0EBB-48F8-9A51-6D04E45EC1DC}" type="datetime'''M''''''''''''a''n''''ch''''e''''''s''t''''''er'">
              <a:rPr lang="en-GB" altLang="en-US" sz="1400" smtClean="0"/>
              <a:pPr/>
              <a:t>Manchester</a:t>
            </a:fld>
            <a:endParaRPr lang="en-GB" sz="1400" dirty="0"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9FDABB-2B9B-1445-95B7-0AF0E49C80A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858000" y="8921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A7B7E2-75A1-3C4C-87E3-C4D01AFD001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858000" y="1155700"/>
            <a:ext cx="250825" cy="18732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4832C5-B002-0446-A7B4-6CED77B7F96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858000" y="1419225"/>
            <a:ext cx="250825" cy="1873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7326ECE-54E9-804A-A0F6-7595A7E01FA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159625" y="1150938"/>
            <a:ext cx="596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2D8893-70A6-4F52-B19C-4C06917F506B}" type="datetime'''''''H''ead''''''''''''''''e''''''''''''''''''''r''s'">
              <a:rPr lang="en-GB" altLang="en-US" sz="1400" smtClean="0"/>
              <a:pPr/>
              <a:t>Headers</a:t>
            </a:fld>
            <a:endParaRPr lang="en-GB" sz="1400" dirty="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350DC0F2-994F-A946-886E-BEE6646113D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159625" y="1414463"/>
            <a:ext cx="6588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048A31-C5D1-4E14-A404-2B3F8D5FAB3D}" type="datetime'''''''Pe''''''''''''n''''a''''''''''''''''l''tie''''''s'''''">
              <a:rPr lang="en-GB" altLang="en-US" sz="1400" smtClean="0"/>
              <a:pPr/>
              <a:t>Penalties</a:t>
            </a:fld>
            <a:endParaRPr lang="en-GB" sz="1400" dirty="0"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211A735-9F33-8143-A2F5-F082CAEEB75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159625" y="887413"/>
            <a:ext cx="4032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02277E-5244-48E6-BA07-8F02488C3F5D}" type="datetime'''''''G''''''''''''''''''''''''''''''''''o''''''a''l''''s'">
              <a:rPr lang="en-GB" altLang="en-US" sz="1400" smtClean="0"/>
              <a:pPr/>
              <a:t>Goals</a:t>
            </a:fld>
            <a:endParaRPr lang="en-GB" sz="1400" dirty="0">
              <a:sym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10271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8" imgW="524" imgH="524" progId="TCLayout.ActiveDocument.1">
                  <p:embed/>
                </p:oleObj>
              </mc:Choice>
              <mc:Fallback>
                <p:oleObj name="think-cell Slide" r:id="rId8" imgW="524" imgH="524" progId="TCLayout.ActiveDocument.1">
                  <p:embed/>
                  <p:pic>
                    <p:nvPicPr>
                      <p:cNvPr id="102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cs typeface="+mj-cs"/>
              <a:sym typeface="+mn-lt"/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5F8A8581-8406-7C4D-9D20-22767AEE209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17615481"/>
              </p:ext>
            </p:extLst>
          </p:nvPr>
        </p:nvGraphicFramePr>
        <p:xfrm>
          <a:off x="2968625" y="1416050"/>
          <a:ext cx="3651250" cy="3360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E512889-2F7F-8047-8A8A-80B0CF10D79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6418263" y="2390775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105699-4D93-49C9-85FA-1EEB5251DE02}" type="datetime'''Em''''p''''''''''''''''lo''y''''''''e''''''''e''''''''''''s'">
              <a:rPr lang="en-GB" altLang="en-US" sz="1400" smtClean="0"/>
              <a:pPr/>
              <a:t>Employees</a:t>
            </a:fld>
            <a:endParaRPr lang="en-GB" sz="1400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9DE1233-A2DD-2240-B736-5307C972A2A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6418263" y="3025775"/>
            <a:ext cx="6254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3F266A-BDEF-4656-AF9D-0E68259AA41A}" type="datetime'''Re''''ve''''''''''''''''n''''''''''''u''''''e'''">
              <a:rPr lang="en-GB" altLang="en-US" sz="1400" smtClean="0"/>
              <a:pPr/>
              <a:t>Revenue</a:t>
            </a:fld>
            <a:endParaRPr lang="en-GB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344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rv7wGtJrGzjaEoj5F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zA6VgRmrC8fnOL_K7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w_9LNRIygy2HJ_Dui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kh6bFQ1KYJSK0xLbT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43Rr2T42DS4aA0JC8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h5WsLuRmiBTkhIjcSJ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BMdXPcMXEEsUdPmO9g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BrVzwQQjOuIokwtshH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xLHVyRRuSW4v7K9XP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2CmceLMvkfQqv8LPB4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5aS0b7SBX9kozB35P3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.5GnjxwplnaqyMYAo5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RzEuWaexeZvj6BetU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aScTbFgEjmfhJc5vS_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2S3NnClHGwq7V4ZFMy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.0JCaqS2p.totKwNtm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TAJRAuyFWEiipI1hY6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tngyuS4IXNMgsKfMXv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YIehMRfnfsmawjkC0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O1b9DcKe0iESfP3w.m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SCEIGCp5CJvCrqX9u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kZw_Kz3Ls2q2hs00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9kl7aIrHvMk1jjWGBf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0DKxO2wWhpwCCNUqQ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C4bUOwQvyXbVSPrn1o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FN3lK_Tz6xJnf4cqGY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DiZcrCRHaSvdJoj3Cu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awfeDnnBRfcNKjQOKi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35</Words>
  <Application>Microsoft Macintosh PowerPoint</Application>
  <PresentationFormat>On-screen Show (4:3)</PresentationFormat>
  <Paragraphs>3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rno Schödl</dc:creator>
  <cp:lastModifiedBy>Microsoft Office User</cp:lastModifiedBy>
  <cp:revision>12</cp:revision>
  <dcterms:created xsi:type="dcterms:W3CDTF">2017-07-28T16:17:58Z</dcterms:created>
  <dcterms:modified xsi:type="dcterms:W3CDTF">2019-06-16T16:31:37Z</dcterms:modified>
</cp:coreProperties>
</file>